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</p:sldMasterIdLst>
  <p:sldIdLst>
    <p:sldId id="259" r:id="rId2"/>
  </p:sldIdLst>
  <p:sldSz cx="10058400" cy="155448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27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4389E032-F422-BA48-A9EB-F323C843AFC1}" v="2" dt="2023-12-15T03:28:29.596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373"/>
    <p:restoredTop sz="95028"/>
  </p:normalViewPr>
  <p:slideViewPr>
    <p:cSldViewPr snapToGrid="0">
      <p:cViewPr>
        <p:scale>
          <a:sx n="69" d="100"/>
          <a:sy n="69" d="100"/>
        </p:scale>
        <p:origin x="2168" y="14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7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4380" y="2544023"/>
            <a:ext cx="8549640" cy="5411893"/>
          </a:xfrm>
        </p:spPr>
        <p:txBody>
          <a:bodyPr anchor="b"/>
          <a:lstStyle>
            <a:lvl1pPr algn="ctr"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57300" y="8164619"/>
            <a:ext cx="7543800" cy="3753061"/>
          </a:xfrm>
        </p:spPr>
        <p:txBody>
          <a:bodyPr/>
          <a:lstStyle>
            <a:lvl1pPr marL="0" indent="0" algn="ctr">
              <a:buNone/>
              <a:defRPr sz="2640"/>
            </a:lvl1pPr>
            <a:lvl2pPr marL="502920" indent="0" algn="ctr">
              <a:buNone/>
              <a:defRPr sz="2200"/>
            </a:lvl2pPr>
            <a:lvl3pPr marL="1005840" indent="0" algn="ctr">
              <a:buNone/>
              <a:defRPr sz="1980"/>
            </a:lvl3pPr>
            <a:lvl4pPr marL="1508760" indent="0" algn="ctr">
              <a:buNone/>
              <a:defRPr sz="1760"/>
            </a:lvl4pPr>
            <a:lvl5pPr marL="2011680" indent="0" algn="ctr">
              <a:buNone/>
              <a:defRPr sz="1760"/>
            </a:lvl5pPr>
            <a:lvl6pPr marL="2514600" indent="0" algn="ctr">
              <a:buNone/>
              <a:defRPr sz="1760"/>
            </a:lvl6pPr>
            <a:lvl7pPr marL="3017520" indent="0" algn="ctr">
              <a:buNone/>
              <a:defRPr sz="1760"/>
            </a:lvl7pPr>
            <a:lvl8pPr marL="3520440" indent="0" algn="ctr">
              <a:buNone/>
              <a:defRPr sz="1760"/>
            </a:lvl8pPr>
            <a:lvl9pPr marL="4023360" indent="0" algn="ctr">
              <a:buNone/>
              <a:defRPr sz="176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0EE70F-65A8-9A4B-879F-69ED43FA4D4B}" type="datetimeFigureOut">
              <a:rPr lang="en-US" smtClean="0"/>
              <a:t>12/14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AF30D3-ABC4-DA41-860B-72376B691B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61516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0EE70F-65A8-9A4B-879F-69ED43FA4D4B}" type="datetimeFigureOut">
              <a:rPr lang="en-US" smtClean="0"/>
              <a:t>12/14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AF30D3-ABC4-DA41-860B-72376B691B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02455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198043" y="827617"/>
            <a:ext cx="2168843" cy="13173499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91515" y="827617"/>
            <a:ext cx="6380798" cy="1317349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0EE70F-65A8-9A4B-879F-69ED43FA4D4B}" type="datetimeFigureOut">
              <a:rPr lang="en-US" smtClean="0"/>
              <a:t>12/14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AF30D3-ABC4-DA41-860B-72376B691B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16939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0EE70F-65A8-9A4B-879F-69ED43FA4D4B}" type="datetimeFigureOut">
              <a:rPr lang="en-US" smtClean="0"/>
              <a:t>12/14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AF30D3-ABC4-DA41-860B-72376B691B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829827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6277" y="3875409"/>
            <a:ext cx="8675370" cy="6466204"/>
          </a:xfrm>
        </p:spPr>
        <p:txBody>
          <a:bodyPr anchor="b"/>
          <a:lstStyle>
            <a:lvl1pPr>
              <a:defRPr sz="66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6277" y="10402786"/>
            <a:ext cx="8675370" cy="3400424"/>
          </a:xfrm>
        </p:spPr>
        <p:txBody>
          <a:bodyPr/>
          <a:lstStyle>
            <a:lvl1pPr marL="0" indent="0">
              <a:buNone/>
              <a:defRPr sz="2640">
                <a:solidFill>
                  <a:schemeClr val="tx1"/>
                </a:solidFill>
              </a:defRPr>
            </a:lvl1pPr>
            <a:lvl2pPr marL="502920" indent="0">
              <a:buNone/>
              <a:defRPr sz="2200">
                <a:solidFill>
                  <a:schemeClr val="tx1">
                    <a:tint val="75000"/>
                  </a:schemeClr>
                </a:solidFill>
              </a:defRPr>
            </a:lvl2pPr>
            <a:lvl3pPr marL="1005840" indent="0">
              <a:buNone/>
              <a:defRPr sz="1980">
                <a:solidFill>
                  <a:schemeClr val="tx1">
                    <a:tint val="75000"/>
                  </a:schemeClr>
                </a:solidFill>
              </a:defRPr>
            </a:lvl3pPr>
            <a:lvl4pPr marL="1508760" indent="0">
              <a:buNone/>
              <a:defRPr sz="1760">
                <a:solidFill>
                  <a:schemeClr val="tx1">
                    <a:tint val="75000"/>
                  </a:schemeClr>
                </a:solidFill>
              </a:defRPr>
            </a:lvl4pPr>
            <a:lvl5pPr marL="2011680" indent="0">
              <a:buNone/>
              <a:defRPr sz="1760">
                <a:solidFill>
                  <a:schemeClr val="tx1">
                    <a:tint val="75000"/>
                  </a:schemeClr>
                </a:solidFill>
              </a:defRPr>
            </a:lvl5pPr>
            <a:lvl6pPr marL="2514600" indent="0">
              <a:buNone/>
              <a:defRPr sz="1760">
                <a:solidFill>
                  <a:schemeClr val="tx1">
                    <a:tint val="75000"/>
                  </a:schemeClr>
                </a:solidFill>
              </a:defRPr>
            </a:lvl6pPr>
            <a:lvl7pPr marL="3017520" indent="0">
              <a:buNone/>
              <a:defRPr sz="1760">
                <a:solidFill>
                  <a:schemeClr val="tx1">
                    <a:tint val="75000"/>
                  </a:schemeClr>
                </a:solidFill>
              </a:defRPr>
            </a:lvl7pPr>
            <a:lvl8pPr marL="3520440" indent="0">
              <a:buNone/>
              <a:defRPr sz="1760">
                <a:solidFill>
                  <a:schemeClr val="tx1">
                    <a:tint val="75000"/>
                  </a:schemeClr>
                </a:solidFill>
              </a:defRPr>
            </a:lvl8pPr>
            <a:lvl9pPr marL="4023360" indent="0">
              <a:buNone/>
              <a:defRPr sz="176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0EE70F-65A8-9A4B-879F-69ED43FA4D4B}" type="datetimeFigureOut">
              <a:rPr lang="en-US" smtClean="0"/>
              <a:t>12/14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AF30D3-ABC4-DA41-860B-72376B691B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534635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91515" y="4138083"/>
            <a:ext cx="4274820" cy="98630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92065" y="4138083"/>
            <a:ext cx="4274820" cy="98630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0EE70F-65A8-9A4B-879F-69ED43FA4D4B}" type="datetimeFigureOut">
              <a:rPr lang="en-US" smtClean="0"/>
              <a:t>12/14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AF30D3-ABC4-DA41-860B-72376B691B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30174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825" y="827620"/>
            <a:ext cx="8675370" cy="3004609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2826" y="3810636"/>
            <a:ext cx="4255174" cy="1867534"/>
          </a:xfrm>
        </p:spPr>
        <p:txBody>
          <a:bodyPr anchor="b"/>
          <a:lstStyle>
            <a:lvl1pPr marL="0" indent="0">
              <a:buNone/>
              <a:defRPr sz="2640" b="1"/>
            </a:lvl1pPr>
            <a:lvl2pPr marL="502920" indent="0">
              <a:buNone/>
              <a:defRPr sz="2200" b="1"/>
            </a:lvl2pPr>
            <a:lvl3pPr marL="1005840" indent="0">
              <a:buNone/>
              <a:defRPr sz="1980" b="1"/>
            </a:lvl3pPr>
            <a:lvl4pPr marL="1508760" indent="0">
              <a:buNone/>
              <a:defRPr sz="1760" b="1"/>
            </a:lvl4pPr>
            <a:lvl5pPr marL="2011680" indent="0">
              <a:buNone/>
              <a:defRPr sz="1760" b="1"/>
            </a:lvl5pPr>
            <a:lvl6pPr marL="2514600" indent="0">
              <a:buNone/>
              <a:defRPr sz="1760" b="1"/>
            </a:lvl6pPr>
            <a:lvl7pPr marL="3017520" indent="0">
              <a:buNone/>
              <a:defRPr sz="1760" b="1"/>
            </a:lvl7pPr>
            <a:lvl8pPr marL="3520440" indent="0">
              <a:buNone/>
              <a:defRPr sz="1760" b="1"/>
            </a:lvl8pPr>
            <a:lvl9pPr marL="4023360" indent="0">
              <a:buNone/>
              <a:defRPr sz="17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92826" y="5678170"/>
            <a:ext cx="4255174" cy="83517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92066" y="3810636"/>
            <a:ext cx="4276130" cy="1867534"/>
          </a:xfrm>
        </p:spPr>
        <p:txBody>
          <a:bodyPr anchor="b"/>
          <a:lstStyle>
            <a:lvl1pPr marL="0" indent="0">
              <a:buNone/>
              <a:defRPr sz="2640" b="1"/>
            </a:lvl1pPr>
            <a:lvl2pPr marL="502920" indent="0">
              <a:buNone/>
              <a:defRPr sz="2200" b="1"/>
            </a:lvl2pPr>
            <a:lvl3pPr marL="1005840" indent="0">
              <a:buNone/>
              <a:defRPr sz="1980" b="1"/>
            </a:lvl3pPr>
            <a:lvl4pPr marL="1508760" indent="0">
              <a:buNone/>
              <a:defRPr sz="1760" b="1"/>
            </a:lvl4pPr>
            <a:lvl5pPr marL="2011680" indent="0">
              <a:buNone/>
              <a:defRPr sz="1760" b="1"/>
            </a:lvl5pPr>
            <a:lvl6pPr marL="2514600" indent="0">
              <a:buNone/>
              <a:defRPr sz="1760" b="1"/>
            </a:lvl6pPr>
            <a:lvl7pPr marL="3017520" indent="0">
              <a:buNone/>
              <a:defRPr sz="1760" b="1"/>
            </a:lvl7pPr>
            <a:lvl8pPr marL="3520440" indent="0">
              <a:buNone/>
              <a:defRPr sz="1760" b="1"/>
            </a:lvl8pPr>
            <a:lvl9pPr marL="4023360" indent="0">
              <a:buNone/>
              <a:defRPr sz="176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92066" y="5678170"/>
            <a:ext cx="4276130" cy="835173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0EE70F-65A8-9A4B-879F-69ED43FA4D4B}" type="datetimeFigureOut">
              <a:rPr lang="en-US" smtClean="0"/>
              <a:t>12/14/2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AF30D3-ABC4-DA41-860B-72376B691B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19511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0EE70F-65A8-9A4B-879F-69ED43FA4D4B}" type="datetimeFigureOut">
              <a:rPr lang="en-US" smtClean="0"/>
              <a:t>12/14/2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AF30D3-ABC4-DA41-860B-72376B691B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9556918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0EE70F-65A8-9A4B-879F-69ED43FA4D4B}" type="datetimeFigureOut">
              <a:rPr lang="en-US" smtClean="0"/>
              <a:t>12/14/2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AF30D3-ABC4-DA41-860B-72376B691B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08629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825" y="1036320"/>
            <a:ext cx="3244096" cy="3627120"/>
          </a:xfrm>
        </p:spPr>
        <p:txBody>
          <a:bodyPr anchor="b"/>
          <a:lstStyle>
            <a:lvl1pPr>
              <a:defRPr sz="352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276130" y="2238167"/>
            <a:ext cx="5092065" cy="11046883"/>
          </a:xfrm>
        </p:spPr>
        <p:txBody>
          <a:bodyPr/>
          <a:lstStyle>
            <a:lvl1pPr>
              <a:defRPr sz="3520"/>
            </a:lvl1pPr>
            <a:lvl2pPr>
              <a:defRPr sz="3080"/>
            </a:lvl2pPr>
            <a:lvl3pPr>
              <a:defRPr sz="2640"/>
            </a:lvl3pPr>
            <a:lvl4pPr>
              <a:defRPr sz="2200"/>
            </a:lvl4pPr>
            <a:lvl5pPr>
              <a:defRPr sz="2200"/>
            </a:lvl5pPr>
            <a:lvl6pPr>
              <a:defRPr sz="2200"/>
            </a:lvl6pPr>
            <a:lvl7pPr>
              <a:defRPr sz="2200"/>
            </a:lvl7pPr>
            <a:lvl8pPr>
              <a:defRPr sz="2200"/>
            </a:lvl8pPr>
            <a:lvl9pPr>
              <a:defRPr sz="2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2825" y="4663440"/>
            <a:ext cx="3244096" cy="8639599"/>
          </a:xfrm>
        </p:spPr>
        <p:txBody>
          <a:bodyPr/>
          <a:lstStyle>
            <a:lvl1pPr marL="0" indent="0">
              <a:buNone/>
              <a:defRPr sz="1760"/>
            </a:lvl1pPr>
            <a:lvl2pPr marL="502920" indent="0">
              <a:buNone/>
              <a:defRPr sz="1540"/>
            </a:lvl2pPr>
            <a:lvl3pPr marL="1005840" indent="0">
              <a:buNone/>
              <a:defRPr sz="1320"/>
            </a:lvl3pPr>
            <a:lvl4pPr marL="1508760" indent="0">
              <a:buNone/>
              <a:defRPr sz="1100"/>
            </a:lvl4pPr>
            <a:lvl5pPr marL="2011680" indent="0">
              <a:buNone/>
              <a:defRPr sz="1100"/>
            </a:lvl5pPr>
            <a:lvl6pPr marL="2514600" indent="0">
              <a:buNone/>
              <a:defRPr sz="1100"/>
            </a:lvl6pPr>
            <a:lvl7pPr marL="3017520" indent="0">
              <a:buNone/>
              <a:defRPr sz="1100"/>
            </a:lvl7pPr>
            <a:lvl8pPr marL="3520440" indent="0">
              <a:buNone/>
              <a:defRPr sz="1100"/>
            </a:lvl8pPr>
            <a:lvl9pPr marL="4023360" indent="0">
              <a:buNone/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0EE70F-65A8-9A4B-879F-69ED43FA4D4B}" type="datetimeFigureOut">
              <a:rPr lang="en-US" smtClean="0"/>
              <a:t>12/14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AF30D3-ABC4-DA41-860B-72376B691B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068704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2825" y="1036320"/>
            <a:ext cx="3244096" cy="3627120"/>
          </a:xfrm>
        </p:spPr>
        <p:txBody>
          <a:bodyPr anchor="b"/>
          <a:lstStyle>
            <a:lvl1pPr>
              <a:defRPr sz="352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4276130" y="2238167"/>
            <a:ext cx="5092065" cy="11046883"/>
          </a:xfrm>
        </p:spPr>
        <p:txBody>
          <a:bodyPr anchor="t"/>
          <a:lstStyle>
            <a:lvl1pPr marL="0" indent="0">
              <a:buNone/>
              <a:defRPr sz="3520"/>
            </a:lvl1pPr>
            <a:lvl2pPr marL="502920" indent="0">
              <a:buNone/>
              <a:defRPr sz="3080"/>
            </a:lvl2pPr>
            <a:lvl3pPr marL="1005840" indent="0">
              <a:buNone/>
              <a:defRPr sz="2640"/>
            </a:lvl3pPr>
            <a:lvl4pPr marL="1508760" indent="0">
              <a:buNone/>
              <a:defRPr sz="2200"/>
            </a:lvl4pPr>
            <a:lvl5pPr marL="2011680" indent="0">
              <a:buNone/>
              <a:defRPr sz="2200"/>
            </a:lvl5pPr>
            <a:lvl6pPr marL="2514600" indent="0">
              <a:buNone/>
              <a:defRPr sz="2200"/>
            </a:lvl6pPr>
            <a:lvl7pPr marL="3017520" indent="0">
              <a:buNone/>
              <a:defRPr sz="2200"/>
            </a:lvl7pPr>
            <a:lvl8pPr marL="3520440" indent="0">
              <a:buNone/>
              <a:defRPr sz="2200"/>
            </a:lvl8pPr>
            <a:lvl9pPr marL="4023360" indent="0">
              <a:buNone/>
              <a:defRPr sz="22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2825" y="4663440"/>
            <a:ext cx="3244096" cy="8639599"/>
          </a:xfrm>
        </p:spPr>
        <p:txBody>
          <a:bodyPr/>
          <a:lstStyle>
            <a:lvl1pPr marL="0" indent="0">
              <a:buNone/>
              <a:defRPr sz="1760"/>
            </a:lvl1pPr>
            <a:lvl2pPr marL="502920" indent="0">
              <a:buNone/>
              <a:defRPr sz="1540"/>
            </a:lvl2pPr>
            <a:lvl3pPr marL="1005840" indent="0">
              <a:buNone/>
              <a:defRPr sz="1320"/>
            </a:lvl3pPr>
            <a:lvl4pPr marL="1508760" indent="0">
              <a:buNone/>
              <a:defRPr sz="1100"/>
            </a:lvl4pPr>
            <a:lvl5pPr marL="2011680" indent="0">
              <a:buNone/>
              <a:defRPr sz="1100"/>
            </a:lvl5pPr>
            <a:lvl6pPr marL="2514600" indent="0">
              <a:buNone/>
              <a:defRPr sz="1100"/>
            </a:lvl6pPr>
            <a:lvl7pPr marL="3017520" indent="0">
              <a:buNone/>
              <a:defRPr sz="1100"/>
            </a:lvl7pPr>
            <a:lvl8pPr marL="3520440" indent="0">
              <a:buNone/>
              <a:defRPr sz="1100"/>
            </a:lvl8pPr>
            <a:lvl9pPr marL="4023360" indent="0">
              <a:buNone/>
              <a:defRPr sz="11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0EE70F-65A8-9A4B-879F-69ED43FA4D4B}" type="datetimeFigureOut">
              <a:rPr lang="en-US" smtClean="0"/>
              <a:t>12/14/2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AAF30D3-ABC4-DA41-860B-72376B691B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019339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91515" y="827620"/>
            <a:ext cx="8675370" cy="300460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91515" y="4138083"/>
            <a:ext cx="8675370" cy="986303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91515" y="14407730"/>
            <a:ext cx="2263140" cy="8276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3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D0EE70F-65A8-9A4B-879F-69ED43FA4D4B}" type="datetimeFigureOut">
              <a:rPr lang="en-US" smtClean="0"/>
              <a:t>12/14/2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331845" y="14407730"/>
            <a:ext cx="3394710" cy="8276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3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103745" y="14407730"/>
            <a:ext cx="2263140" cy="8276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32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AAF30D3-ABC4-DA41-860B-72376B691B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0993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1005840" rtl="0" eaLnBrk="1" latinLnBrk="0" hangingPunct="1">
        <a:lnSpc>
          <a:spcPct val="90000"/>
        </a:lnSpc>
        <a:spcBef>
          <a:spcPct val="0"/>
        </a:spcBef>
        <a:buNone/>
        <a:defRPr sz="484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51460" indent="-251460" algn="l" defTabSz="1005840" rtl="0" eaLnBrk="1" latinLnBrk="0" hangingPunct="1">
        <a:lnSpc>
          <a:spcPct val="90000"/>
        </a:lnSpc>
        <a:spcBef>
          <a:spcPts val="1100"/>
        </a:spcBef>
        <a:buFont typeface="Arial" panose="020B0604020202020204" pitchFamily="34" charset="0"/>
        <a:buChar char="•"/>
        <a:defRPr sz="3080" kern="1200">
          <a:solidFill>
            <a:schemeClr val="tx1"/>
          </a:solidFill>
          <a:latin typeface="+mn-lt"/>
          <a:ea typeface="+mn-ea"/>
          <a:cs typeface="+mn-cs"/>
        </a:defRPr>
      </a:lvl1pPr>
      <a:lvl2pPr marL="75438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2640" kern="1200">
          <a:solidFill>
            <a:schemeClr val="tx1"/>
          </a:solidFill>
          <a:latin typeface="+mn-lt"/>
          <a:ea typeface="+mn-ea"/>
          <a:cs typeface="+mn-cs"/>
        </a:defRPr>
      </a:lvl2pPr>
      <a:lvl3pPr marL="125730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76022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4pPr>
      <a:lvl5pPr marL="226314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5pPr>
      <a:lvl6pPr marL="276606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6pPr>
      <a:lvl7pPr marL="326898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7pPr>
      <a:lvl8pPr marL="377190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8pPr>
      <a:lvl9pPr marL="4274820" indent="-251460" algn="l" defTabSz="1005840" rtl="0" eaLnBrk="1" latinLnBrk="0" hangingPunct="1">
        <a:lnSpc>
          <a:spcPct val="90000"/>
        </a:lnSpc>
        <a:spcBef>
          <a:spcPts val="550"/>
        </a:spcBef>
        <a:buFont typeface="Arial" panose="020B0604020202020204" pitchFamily="34" charset="0"/>
        <a:buChar char="•"/>
        <a:defRPr sz="198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1pPr>
      <a:lvl2pPr marL="50292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2pPr>
      <a:lvl3pPr marL="100584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3pPr>
      <a:lvl4pPr marL="150876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4pPr>
      <a:lvl5pPr marL="201168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6pPr>
      <a:lvl7pPr marL="301752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7pPr>
      <a:lvl8pPr marL="352044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8pPr>
      <a:lvl9pPr marL="4023360" algn="l" defTabSz="1005840" rtl="0" eaLnBrk="1" latinLnBrk="0" hangingPunct="1">
        <a:defRPr sz="198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slideLayout" Target="../slideLayouts/slideLayout2.xml"/><Relationship Id="rId5" Type="http://schemas.openxmlformats.org/officeDocument/2006/relationships/tags" Target="../tags/tag5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5">
            <a:extLst>
              <a:ext uri="{FF2B5EF4-FFF2-40B4-BE49-F238E27FC236}">
                <a16:creationId xmlns:a16="http://schemas.microsoft.com/office/drawing/2014/main" id="{8ED841A6-FD55-0079-AB77-4179592E34D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665905" y="1607321"/>
            <a:ext cx="3636329" cy="4844248"/>
          </a:xfrm>
          <a:prstGeom prst="rect">
            <a:avLst/>
          </a:prstGeom>
          <a:solidFill>
            <a:schemeClr val="bg1"/>
          </a:solidFill>
          <a:ln w="19050" algn="ctr">
            <a:solidFill>
              <a:srgbClr val="AAAAAA"/>
            </a:solidFill>
            <a:miter lim="800000"/>
            <a:headEnd/>
            <a:tailEnd/>
          </a:ln>
          <a:effectLst/>
        </p:spPr>
        <p:txBody>
          <a:bodyPr wrap="none" lIns="73148" tIns="73148" rIns="73148" bIns="73148" anchor="ctr"/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300" b="1" kern="0">
              <a:solidFill>
                <a:srgbClr val="00227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5" name="Title 7">
            <a:extLst>
              <a:ext uri="{FF2B5EF4-FFF2-40B4-BE49-F238E27FC236}">
                <a16:creationId xmlns:a16="http://schemas.microsoft.com/office/drawing/2014/main" id="{DD99FDBB-0B30-ECBF-3165-DC80795DC0AE}"/>
              </a:ext>
            </a:extLst>
          </p:cNvPr>
          <p:cNvSpPr txBox="1">
            <a:spLocks/>
          </p:cNvSpPr>
          <p:nvPr/>
        </p:nvSpPr>
        <p:spPr>
          <a:xfrm>
            <a:off x="555484" y="513846"/>
            <a:ext cx="8077248" cy="4733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62500" lnSpcReduction="20000"/>
          </a:bodyPr>
          <a:lstStyle>
            <a:lvl1pPr algn="l" defTabSz="100584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84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solidFill>
                  <a:srgbClr val="00227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se Case Name:</a:t>
            </a:r>
            <a:endParaRPr lang="en-GB" b="1" dirty="0">
              <a:solidFill>
                <a:srgbClr val="00227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F1E25BDF-2C1D-2F16-240B-BDE32C7C76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52139250"/>
              </p:ext>
            </p:extLst>
          </p:nvPr>
        </p:nvGraphicFramePr>
        <p:xfrm>
          <a:off x="4469223" y="1796377"/>
          <a:ext cx="4297680" cy="661090"/>
        </p:xfrm>
        <a:graphic>
          <a:graphicData uri="http://schemas.openxmlformats.org/drawingml/2006/table">
            <a:tbl>
              <a:tblPr/>
              <a:tblGrid>
                <a:gridCol w="213114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13962">
                  <a:extLst>
                    <a:ext uri="{9D8B030D-6E8A-4147-A177-3AD203B41FA5}">
                      <a16:colId xmlns:a16="http://schemas.microsoft.com/office/drawing/2014/main" val="1141157121"/>
                    </a:ext>
                  </a:extLst>
                </a:gridCol>
                <a:gridCol w="1752576">
                  <a:extLst>
                    <a:ext uri="{9D8B030D-6E8A-4147-A177-3AD203B41FA5}">
                      <a16:colId xmlns:a16="http://schemas.microsoft.com/office/drawing/2014/main" val="2317280947"/>
                    </a:ext>
                  </a:extLst>
                </a:gridCol>
              </a:tblGrid>
              <a:tr h="252000"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Metrics</a:t>
                      </a:r>
                    </a:p>
                  </a:txBody>
                  <a:tcPr marL="36000" marR="9525" marT="951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77"/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200" b="1" i="0" u="none" strike="noStrike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Unit</a:t>
                      </a: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77"/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endParaRPr lang="en-GB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7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4545"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/>
                        </a:rPr>
                        <a:t>Net present value (total project)</a:t>
                      </a:r>
                    </a:p>
                  </a:txBody>
                  <a:tcPr marL="36000" marR="9525" marT="951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/>
                        </a:rPr>
                        <a:t>$</a:t>
                      </a: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endParaRPr lang="en-GB" sz="12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04545"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/>
                        </a:rPr>
                        <a:t>Payback period</a:t>
                      </a:r>
                    </a:p>
                  </a:txBody>
                  <a:tcPr marL="36000" marR="9525" marT="951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B65">
                        <a:lumMod val="10000"/>
                        <a:lumOff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/>
                        </a:rPr>
                        <a:t>Years</a:t>
                      </a: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B65">
                        <a:lumMod val="10000"/>
                        <a:lumOff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endParaRPr lang="en-GB" sz="12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1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1854304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079EC08E-B4A2-C206-C148-C132EB96F3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08290463"/>
              </p:ext>
            </p:extLst>
          </p:nvPr>
        </p:nvGraphicFramePr>
        <p:xfrm>
          <a:off x="4469223" y="4031681"/>
          <a:ext cx="4297680" cy="1551418"/>
        </p:xfrm>
        <a:graphic>
          <a:graphicData uri="http://schemas.openxmlformats.org/drawingml/2006/table">
            <a:tbl>
              <a:tblPr/>
              <a:tblGrid>
                <a:gridCol w="125440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327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656424">
                  <a:extLst>
                    <a:ext uri="{9D8B030D-6E8A-4147-A177-3AD203B41FA5}">
                      <a16:colId xmlns:a16="http://schemas.microsoft.com/office/drawing/2014/main" val="3505440033"/>
                    </a:ext>
                  </a:extLst>
                </a:gridCol>
                <a:gridCol w="529198">
                  <a:extLst>
                    <a:ext uri="{9D8B030D-6E8A-4147-A177-3AD203B41FA5}">
                      <a16:colId xmlns:a16="http://schemas.microsoft.com/office/drawing/2014/main" val="639039899"/>
                    </a:ext>
                  </a:extLst>
                </a:gridCol>
                <a:gridCol w="529198">
                  <a:extLst>
                    <a:ext uri="{9D8B030D-6E8A-4147-A177-3AD203B41FA5}">
                      <a16:colId xmlns:a16="http://schemas.microsoft.com/office/drawing/2014/main" val="835910683"/>
                    </a:ext>
                  </a:extLst>
                </a:gridCol>
                <a:gridCol w="595738">
                  <a:extLst>
                    <a:ext uri="{9D8B030D-6E8A-4147-A177-3AD203B41FA5}">
                      <a16:colId xmlns:a16="http://schemas.microsoft.com/office/drawing/2014/main" val="4235298920"/>
                    </a:ext>
                  </a:extLst>
                </a:gridCol>
              </a:tblGrid>
              <a:tr h="397042"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Metrics</a:t>
                      </a:r>
                    </a:p>
                  </a:txBody>
                  <a:tcPr marL="36000" marR="9525" marT="951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77"/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Unit</a:t>
                      </a: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77"/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First 12 </a:t>
                      </a:r>
                    </a:p>
                    <a:p>
                      <a:pPr algn="ctr" fontAlgn="b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months</a:t>
                      </a: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77"/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Year 2</a:t>
                      </a: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77"/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Year 3</a:t>
                      </a: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77"/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Total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3 Years</a:t>
                      </a:r>
                    </a:p>
                  </a:txBody>
                  <a:tcPr marL="36000" marR="9525" marT="9516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7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en-GB" sz="1200" b="1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lume</a:t>
                      </a:r>
                    </a:p>
                  </a:txBody>
                  <a:tcPr marL="36000" marR="9525" marT="951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/>
                        </a:rPr>
                        <a:t>Million</a:t>
                      </a: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endParaRPr lang="en-GB" sz="12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endParaRPr lang="en-GB" sz="1200" b="1" i="0" u="none" strike="noStrike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endParaRPr lang="en-GB" sz="1200" b="1" i="0" u="none" strike="noStrike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endParaRPr lang="en-GB" sz="1200" b="1" i="0" u="none" strike="noStrike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0000"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en-GB" sz="1200" b="1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hare</a:t>
                      </a:r>
                    </a:p>
                  </a:txBody>
                  <a:tcPr marL="36000" marR="9525" marT="951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B65">
                        <a:lumMod val="10000"/>
                        <a:lumOff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i="0" u="none" strike="noStrike" dirty="0">
                          <a:solidFill>
                            <a:srgbClr val="002060"/>
                          </a:solidFill>
                          <a:effectLst/>
                          <a:latin typeface="Calibri"/>
                        </a:rPr>
                        <a:t>%</a:t>
                      </a: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B65">
                        <a:lumMod val="10000"/>
                        <a:lumOff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endParaRPr lang="en-GB" sz="12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B65">
                        <a:lumMod val="10000"/>
                        <a:lumOff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endParaRPr lang="en-GB" sz="12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B65">
                        <a:lumMod val="10000"/>
                        <a:lumOff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endParaRPr lang="en-GB" sz="1200" b="1" i="0" u="none" strike="noStrike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B65">
                        <a:lumMod val="10000"/>
                        <a:lumOff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endParaRPr lang="en-GB" sz="1200" b="1" i="0" u="none" strike="noStrike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B65">
                        <a:lumMod val="10000"/>
                        <a:lumOff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41854304"/>
                  </a:ext>
                </a:extLst>
              </a:tr>
              <a:tr h="180000"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en-GB" sz="1200" b="1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venue</a:t>
                      </a:r>
                    </a:p>
                  </a:txBody>
                  <a:tcPr marL="36000" marR="9525" marT="951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Arial"/>
                        </a:rPr>
                        <a:t>$ Million</a:t>
                      </a: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endParaRPr lang="en-GB" sz="12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endParaRPr lang="en-GB" sz="12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endParaRPr lang="en-GB" sz="12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endParaRPr lang="en-GB" sz="1200" b="1" i="0" u="none" strike="noStrike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0000"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en-GB" sz="1200" b="1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oss Margin</a:t>
                      </a:r>
                    </a:p>
                  </a:txBody>
                  <a:tcPr marL="36000" marR="9525" marT="951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B65">
                        <a:lumMod val="10000"/>
                        <a:lumOff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Arial"/>
                        </a:rPr>
                        <a:t>$ Million</a:t>
                      </a: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B65">
                        <a:lumMod val="10000"/>
                        <a:lumOff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endParaRPr lang="en-GB" sz="12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B65">
                        <a:lumMod val="10000"/>
                        <a:lumOff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endParaRPr lang="en-GB" sz="12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B65">
                        <a:lumMod val="10000"/>
                        <a:lumOff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endParaRPr lang="en-GB" sz="12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B65">
                        <a:lumMod val="10000"/>
                        <a:lumOff val="9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endParaRPr lang="en-GB" sz="12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1B65">
                        <a:lumMod val="10000"/>
                        <a:lumOff val="9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0000"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en-GB" sz="1200" b="1" dirty="0">
                          <a:solidFill>
                            <a:srgbClr val="002060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perating profit</a:t>
                      </a:r>
                    </a:p>
                  </a:txBody>
                  <a:tcPr marL="36000" marR="9525" marT="951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1FF"/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+mn-cs"/>
                          <a:sym typeface="Arial"/>
                        </a:rPr>
                        <a:t>$ Million</a:t>
                      </a: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1FF"/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endParaRPr lang="en-GB" sz="12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1FF"/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endParaRPr lang="en-GB" sz="1200" b="1" i="0" u="none" strike="noStrike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1FF"/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endParaRPr lang="en-GB" sz="12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1FF"/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endParaRPr lang="en-GB" sz="12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1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1732699"/>
                  </a:ext>
                </a:extLst>
              </a:tr>
              <a:tr h="180000">
                <a:tc>
                  <a:txBody>
                    <a:bodyPr/>
                    <a:lstStyle/>
                    <a:p>
                      <a:endParaRPr lang="en-GB" sz="1200" b="1" dirty="0">
                        <a:solidFill>
                          <a:srgbClr val="002060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9525" marT="9516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1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kumimoji="0" lang="en-GB" sz="1200" b="1" i="0" u="none" strike="noStrike" kern="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Calibri"/>
                        <a:ea typeface="+mn-ea"/>
                        <a:cs typeface="+mn-cs"/>
                        <a:sym typeface="Arial"/>
                      </a:endParaRP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1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1" i="0" u="none" strike="noStrike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1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1" i="0" u="none" strike="noStrike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1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1FF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2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1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90755085"/>
                  </a:ext>
                </a:extLst>
              </a:tr>
            </a:tbl>
          </a:graphicData>
        </a:graphic>
      </p:graphicFrame>
      <p:graphicFrame>
        <p:nvGraphicFramePr>
          <p:cNvPr id="8" name="Table 7">
            <a:extLst>
              <a:ext uri="{FF2B5EF4-FFF2-40B4-BE49-F238E27FC236}">
                <a16:creationId xmlns:a16="http://schemas.microsoft.com/office/drawing/2014/main" id="{E21F9613-722A-6ACC-DD78-A4AB52E8B496}"/>
              </a:ext>
            </a:extLst>
          </p:cNvPr>
          <p:cNvGraphicFramePr>
            <a:graphicFrameLocks noGrp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4873192"/>
              </p:ext>
            </p:extLst>
          </p:nvPr>
        </p:nvGraphicFramePr>
        <p:xfrm>
          <a:off x="4469223" y="5691500"/>
          <a:ext cx="4293949" cy="760068"/>
        </p:xfrm>
        <a:graphic>
          <a:graphicData uri="http://schemas.openxmlformats.org/drawingml/2006/table">
            <a:tbl>
              <a:tblPr/>
              <a:tblGrid>
                <a:gridCol w="69360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17590">
                  <a:extLst>
                    <a:ext uri="{9D8B030D-6E8A-4147-A177-3AD203B41FA5}">
                      <a16:colId xmlns:a16="http://schemas.microsoft.com/office/drawing/2014/main" val="951485416"/>
                    </a:ext>
                  </a:extLst>
                </a:gridCol>
                <a:gridCol w="63448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580331">
                  <a:extLst>
                    <a:ext uri="{9D8B030D-6E8A-4147-A177-3AD203B41FA5}">
                      <a16:colId xmlns:a16="http://schemas.microsoft.com/office/drawing/2014/main" val="1476154290"/>
                    </a:ext>
                  </a:extLst>
                </a:gridCol>
                <a:gridCol w="516467">
                  <a:extLst>
                    <a:ext uri="{9D8B030D-6E8A-4147-A177-3AD203B41FA5}">
                      <a16:colId xmlns:a16="http://schemas.microsoft.com/office/drawing/2014/main" val="2458544954"/>
                    </a:ext>
                  </a:extLst>
                </a:gridCol>
                <a:gridCol w="465667">
                  <a:extLst>
                    <a:ext uri="{9D8B030D-6E8A-4147-A177-3AD203B41FA5}">
                      <a16:colId xmlns:a16="http://schemas.microsoft.com/office/drawing/2014/main" val="362267034"/>
                    </a:ext>
                  </a:extLst>
                </a:gridCol>
                <a:gridCol w="685800">
                  <a:extLst>
                    <a:ext uri="{9D8B030D-6E8A-4147-A177-3AD203B41FA5}">
                      <a16:colId xmlns:a16="http://schemas.microsoft.com/office/drawing/2014/main" val="2499841601"/>
                    </a:ext>
                  </a:extLst>
                </a:gridCol>
              </a:tblGrid>
              <a:tr h="360000"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GB" sz="12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Metrics</a:t>
                      </a:r>
                    </a:p>
                  </a:txBody>
                  <a:tcPr marL="36000" marR="6136" marT="6137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77"/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2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Budgeted?</a:t>
                      </a:r>
                    </a:p>
                  </a:txBody>
                  <a:tcPr marL="0" marR="6136" marT="6137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77"/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Unit</a:t>
                      </a:r>
                    </a:p>
                  </a:txBody>
                  <a:tcPr marL="0" marR="6136" marT="6137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77"/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First 12 </a:t>
                      </a:r>
                    </a:p>
                    <a:p>
                      <a:pPr algn="ctr" fontAlgn="b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months</a:t>
                      </a: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77"/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Year 2</a:t>
                      </a: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77"/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Year 3</a:t>
                      </a: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77"/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Total </a:t>
                      </a:r>
                    </a:p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3 Years</a:t>
                      </a:r>
                    </a:p>
                  </a:txBody>
                  <a:tcPr marL="36000" marR="9525" marT="9516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7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0000"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en-GB" sz="1200" b="1" i="0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Opex</a:t>
                      </a:r>
                      <a:endParaRPr lang="ru-RU" sz="1200" b="1" i="0" u="none" strike="noStrike" kern="1200" baseline="0" dirty="0">
                        <a:solidFill>
                          <a:srgbClr val="00206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600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Arial"/>
                        </a:rPr>
                        <a:t>Yes</a:t>
                      </a:r>
                    </a:p>
                  </a:txBody>
                  <a:tcPr marL="3600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Arial"/>
                          <a:sym typeface="Arial"/>
                        </a:rPr>
                        <a:t>$ Million</a:t>
                      </a:r>
                    </a:p>
                  </a:txBody>
                  <a:tcPr marL="3600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endParaRPr lang="en-GB" sz="12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endParaRPr lang="en-GB" sz="12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endParaRPr lang="en-GB" sz="12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EEE"/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endParaRPr lang="en-GB" sz="12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rgbClr val="00227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EEEE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0000"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r>
                        <a:rPr lang="en-GB" sz="1200" b="1" i="0" u="none" strike="noStrike" kern="1200" baseline="0">
                          <a:solidFill>
                            <a:srgbClr val="002060"/>
                          </a:solidFill>
                          <a:effectLst/>
                          <a:latin typeface="Calibri"/>
                          <a:ea typeface="+mn-ea"/>
                          <a:cs typeface="+mn-cs"/>
                        </a:rPr>
                        <a:t>Capex</a:t>
                      </a:r>
                      <a:endParaRPr lang="ru-RU" sz="1200" b="1" i="0" u="none" strike="noStrike" kern="1200" baseline="0">
                        <a:solidFill>
                          <a:srgbClr val="002060"/>
                        </a:solidFill>
                        <a:effectLst/>
                        <a:latin typeface="Calibri"/>
                        <a:ea typeface="+mn-ea"/>
                        <a:cs typeface="+mn-cs"/>
                      </a:endParaRPr>
                    </a:p>
                  </a:txBody>
                  <a:tcPr marL="3600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1FF"/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2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Arial"/>
                        </a:rPr>
                        <a:t>Yes</a:t>
                      </a:r>
                    </a:p>
                  </a:txBody>
                  <a:tcPr marL="3600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1FF"/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kumimoji="0" lang="en-GB" sz="12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Calibri"/>
                          <a:ea typeface="+mn-ea"/>
                          <a:cs typeface="Arial"/>
                          <a:sym typeface="Arial"/>
                        </a:rPr>
                        <a:t>$ Million</a:t>
                      </a:r>
                    </a:p>
                  </a:txBody>
                  <a:tcPr marL="36000" marR="0" marT="0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1FF"/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endParaRPr lang="en-GB" sz="1200" b="1" i="0" u="none" strike="noStrike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1FF"/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endParaRPr lang="en-GB" sz="1200" b="1" i="0" u="none" strike="noStrike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1FF"/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endParaRPr lang="en-GB" sz="12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1FF"/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ctr" fontAlgn="b"/>
                      <a:endParaRPr lang="en-GB" sz="12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36000" marR="9525" marT="9516" marB="0" anchor="ctr">
                    <a:lnL w="12700" cap="flat" cmpd="sng" algn="ctr">
                      <a:noFill/>
                      <a:prstDash val="sysDash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6E1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9" name="Rectangle 9">
            <a:extLst>
              <a:ext uri="{FF2B5EF4-FFF2-40B4-BE49-F238E27FC236}">
                <a16:creationId xmlns:a16="http://schemas.microsoft.com/office/drawing/2014/main" id="{3107606C-7BF5-9E08-4ECC-9D7846CD4961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4469223" y="1616374"/>
            <a:ext cx="4297680" cy="180000"/>
          </a:xfrm>
          <a:prstGeom prst="rect">
            <a:avLst/>
          </a:prstGeom>
          <a:solidFill>
            <a:srgbClr val="AAAAAA">
              <a:lumMod val="75000"/>
            </a:srgbClr>
          </a:solidFill>
          <a:ln>
            <a:noFill/>
          </a:ln>
          <a:effectLst/>
        </p:spPr>
        <p:txBody>
          <a:bodyPr wrap="none" lIns="73148" tIns="73148" rIns="73148" bIns="73148" anchor="ctr"/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ancial Impact</a:t>
            </a:r>
            <a:endParaRPr lang="en-GB" sz="1200" i="1" kern="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Rectangle 28">
            <a:extLst>
              <a:ext uri="{FF2B5EF4-FFF2-40B4-BE49-F238E27FC236}">
                <a16:creationId xmlns:a16="http://schemas.microsoft.com/office/drawing/2014/main" id="{544C206B-6D7B-F968-A9B7-4388183F5D4C}"/>
              </a:ext>
            </a:extLst>
          </p:cNvPr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458588" y="5539843"/>
            <a:ext cx="4297680" cy="180000"/>
          </a:xfrm>
          <a:prstGeom prst="rect">
            <a:avLst/>
          </a:prstGeom>
          <a:solidFill>
            <a:srgbClr val="AAAAAA">
              <a:lumMod val="7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19050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3152" tIns="73152" rIns="73152" bIns="73152" anchor="ctr"/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vestment &amp; Resources Required</a:t>
            </a:r>
          </a:p>
        </p:txBody>
      </p:sp>
      <p:sp>
        <p:nvSpPr>
          <p:cNvPr id="11" name="Rectangle 32">
            <a:extLst>
              <a:ext uri="{FF2B5EF4-FFF2-40B4-BE49-F238E27FC236}">
                <a16:creationId xmlns:a16="http://schemas.microsoft.com/office/drawing/2014/main" id="{FC793D63-B212-C65F-985B-AF7E22B2FEC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65905" y="1616375"/>
            <a:ext cx="3657600" cy="179999"/>
          </a:xfrm>
          <a:prstGeom prst="rect">
            <a:avLst/>
          </a:prstGeom>
          <a:solidFill>
            <a:srgbClr val="AAAAAA">
              <a:lumMod val="75000"/>
            </a:srgbClr>
          </a:solidFill>
          <a:ln w="19050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3152" tIns="73152" rIns="73152" bIns="73152" anchor="ctr"/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ecutive Summary</a:t>
            </a:r>
          </a:p>
        </p:txBody>
      </p:sp>
      <p:sp>
        <p:nvSpPr>
          <p:cNvPr id="12" name="Rectangle 9">
            <a:extLst>
              <a:ext uri="{FF2B5EF4-FFF2-40B4-BE49-F238E27FC236}">
                <a16:creationId xmlns:a16="http://schemas.microsoft.com/office/drawing/2014/main" id="{EF3D7005-7785-E892-5506-3FCBB3C83ABA}"/>
              </a:ext>
            </a:extLst>
          </p:cNvPr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4458588" y="3856224"/>
            <a:ext cx="4297680" cy="180000"/>
          </a:xfrm>
          <a:prstGeom prst="rect">
            <a:avLst/>
          </a:prstGeom>
          <a:solidFill>
            <a:srgbClr val="AAAAAA">
              <a:lumMod val="75000"/>
            </a:srgbClr>
          </a:solidFill>
          <a:ln>
            <a:noFill/>
          </a:ln>
          <a:effectLst/>
        </p:spPr>
        <p:txBody>
          <a:bodyPr wrap="none" lIns="73148" tIns="73148" rIns="73148" bIns="73148" anchor="ctr"/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cremental Benefits</a:t>
            </a:r>
          </a:p>
        </p:txBody>
      </p:sp>
      <p:sp>
        <p:nvSpPr>
          <p:cNvPr id="13" name="Rectangle 9">
            <a:extLst>
              <a:ext uri="{FF2B5EF4-FFF2-40B4-BE49-F238E27FC236}">
                <a16:creationId xmlns:a16="http://schemas.microsoft.com/office/drawing/2014/main" id="{9FFFA987-01BC-5832-70EB-BFA0E2C9700E}"/>
              </a:ext>
            </a:extLst>
          </p:cNvPr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655269" y="4988594"/>
            <a:ext cx="3657600" cy="179999"/>
          </a:xfrm>
          <a:prstGeom prst="rect">
            <a:avLst/>
          </a:prstGeom>
          <a:solidFill>
            <a:srgbClr val="AAAAAA">
              <a:lumMod val="75000"/>
            </a:srgbClr>
          </a:solidFill>
          <a:ln w="19050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3152" tIns="73152" rIns="73152" bIns="73152" anchor="ctr"/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ssumptions</a:t>
            </a:r>
            <a:endParaRPr lang="en-GB" sz="1200" i="1" kern="0" dirty="0">
              <a:solidFill>
                <a:srgbClr val="FFFFFF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4" name="Rectangle 147">
            <a:extLst>
              <a:ext uri="{FF2B5EF4-FFF2-40B4-BE49-F238E27FC236}">
                <a16:creationId xmlns:a16="http://schemas.microsoft.com/office/drawing/2014/main" id="{DB75F62D-0F6E-E5AF-6355-30A5F8535C09}"/>
              </a:ext>
            </a:extLst>
          </p:cNvPr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4469223" y="1607321"/>
            <a:ext cx="4297680" cy="4844248"/>
          </a:xfrm>
          <a:prstGeom prst="rect">
            <a:avLst/>
          </a:prstGeom>
          <a:noFill/>
          <a:ln w="19050" algn="ctr">
            <a:solidFill>
              <a:srgbClr val="AAAAAA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3148" tIns="73148" rIns="73148" bIns="73148" anchor="ctr"/>
          <a:lstStyle/>
          <a:p>
            <a:pPr algn="ctr" defTabSz="914354" fontAlgn="base">
              <a:spcBef>
                <a:spcPct val="0"/>
              </a:spcBef>
              <a:spcAft>
                <a:spcPct val="0"/>
              </a:spcAft>
              <a:defRPr/>
            </a:pPr>
            <a:endParaRPr lang="en-GB" sz="1300" b="1" kern="0">
              <a:solidFill>
                <a:srgbClr val="00227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5" name="Rectangle 32">
            <a:extLst>
              <a:ext uri="{FF2B5EF4-FFF2-40B4-BE49-F238E27FC236}">
                <a16:creationId xmlns:a16="http://schemas.microsoft.com/office/drawing/2014/main" id="{AA7D2625-A772-1EDF-621D-9FAD5151CE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55269" y="3207958"/>
            <a:ext cx="3657600" cy="179999"/>
          </a:xfrm>
          <a:prstGeom prst="rect">
            <a:avLst/>
          </a:prstGeom>
          <a:solidFill>
            <a:srgbClr val="AAAAAA">
              <a:lumMod val="75000"/>
            </a:srgbClr>
          </a:solidFill>
          <a:ln w="19050" algn="ctr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3152" tIns="73152" rIns="73152" bIns="73152" anchor="ctr"/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200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pportunity </a:t>
            </a: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E52D9013-C9BB-DAB0-BF6A-9152A45F3C68}"/>
              </a:ext>
            </a:extLst>
          </p:cNvPr>
          <p:cNvGraphicFramePr>
            <a:graphicFrameLocks noGrp="1"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566651186"/>
              </p:ext>
            </p:extLst>
          </p:nvPr>
        </p:nvGraphicFramePr>
        <p:xfrm>
          <a:off x="4469223" y="2787287"/>
          <a:ext cx="4299629" cy="1059115"/>
        </p:xfrm>
        <a:graphic>
          <a:graphicData uri="http://schemas.openxmlformats.org/drawingml/2006/table">
            <a:tbl>
              <a:tblPr/>
              <a:tblGrid>
                <a:gridCol w="9902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03564">
                  <a:extLst>
                    <a:ext uri="{9D8B030D-6E8A-4147-A177-3AD203B41FA5}">
                      <a16:colId xmlns:a16="http://schemas.microsoft.com/office/drawing/2014/main" val="3052868719"/>
                    </a:ext>
                  </a:extLst>
                </a:gridCol>
                <a:gridCol w="997527">
                  <a:extLst>
                    <a:ext uri="{9D8B030D-6E8A-4147-A177-3AD203B41FA5}">
                      <a16:colId xmlns:a16="http://schemas.microsoft.com/office/drawing/2014/main" val="2547603867"/>
                    </a:ext>
                  </a:extLst>
                </a:gridCol>
                <a:gridCol w="15082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52000"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algn="l" fontAlgn="b"/>
                      <a:r>
                        <a:rPr lang="en-US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/>
                        </a:rPr>
                        <a:t>Description</a:t>
                      </a:r>
                      <a:endParaRPr lang="en-GB" sz="1200" b="1" i="0" u="none" strike="noStrike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36000" marR="9035" marT="90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7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mpact</a:t>
                      </a:r>
                    </a:p>
                  </a:txBody>
                  <a:tcPr marL="0" marR="0" marT="9023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77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obability</a:t>
                      </a:r>
                    </a:p>
                  </a:txBody>
                  <a:tcPr marL="0" marR="0" marT="9023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77"/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itigation</a:t>
                      </a:r>
                    </a:p>
                  </a:txBody>
                  <a:tcPr marL="0" marR="0" marT="9023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2277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6144"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lvl="0" indent="0" algn="l" defTabSz="4571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0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"/>
                        <a:ea typeface="+mn-ea"/>
                        <a:cs typeface="Arial"/>
                      </a:endParaRPr>
                    </a:p>
                  </a:txBody>
                  <a:tcPr marL="36000" marR="9035" marT="90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000" b="1" i="0" u="none" strike="noStrike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9035" marR="9035" marT="9023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000" b="1" i="0" u="none" strike="noStrike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9035" marR="9035" marT="9023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1pPr>
                      <a:lvl2pPr marL="45716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2pPr>
                      <a:lvl3pPr marL="914332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3pPr>
                      <a:lvl4pPr marL="1371498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4pPr>
                      <a:lvl5pPr marL="182866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5pPr>
                      <a:lvl6pPr marL="228583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6pPr>
                      <a:lvl7pPr marL="2742994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7pPr>
                      <a:lvl8pPr marL="3200160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8pPr>
                      <a:lvl9pPr marL="3657327" algn="l" defTabSz="457167" rtl="0" eaLnBrk="1" latinLnBrk="0" hangingPunct="1">
                        <a:defRPr sz="1900" kern="1200">
                          <a:solidFill>
                            <a:schemeClr val="tx1"/>
                          </a:solidFill>
                          <a:latin typeface="Arial"/>
                          <a:cs typeface="Arial"/>
                        </a:defRPr>
                      </a:lvl9pPr>
                    </a:lstStyle>
                    <a:p>
                      <a:pPr marL="0" marR="0" lvl="0" indent="0" algn="l" defTabSz="457167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0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45720" marR="9035" marT="9023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6144">
                <a:tc>
                  <a:txBody>
                    <a:bodyPr/>
                    <a:lstStyle/>
                    <a:p>
                      <a:pPr algn="l" fontAlgn="b"/>
                      <a:endParaRPr lang="en-GB" sz="10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"/>
                        <a:ea typeface="+mn-ea"/>
                        <a:cs typeface="Arial"/>
                      </a:endParaRPr>
                    </a:p>
                  </a:txBody>
                  <a:tcPr marL="36000" marR="9035" marT="90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0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9035" marR="9035" marT="9023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0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9035" marR="9035" marT="9023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0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45720" marR="9035" marT="9023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76452838"/>
                  </a:ext>
                </a:extLst>
              </a:tr>
              <a:tr h="86144">
                <a:tc>
                  <a:txBody>
                    <a:bodyPr/>
                    <a:lstStyle/>
                    <a:p>
                      <a:pPr algn="l" fontAlgn="b"/>
                      <a:endParaRPr lang="en-GB" sz="1000" b="1" i="1" u="none" strike="noStrike" kern="1200" dirty="0">
                        <a:solidFill>
                          <a:srgbClr val="002060"/>
                        </a:solidFill>
                        <a:effectLst/>
                        <a:latin typeface="Calibri"/>
                        <a:ea typeface="+mn-ea"/>
                        <a:cs typeface="Arial"/>
                      </a:endParaRPr>
                    </a:p>
                  </a:txBody>
                  <a:tcPr marL="36000" marR="9035" marT="90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0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9035" marR="9035" marT="9023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0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9035" marR="9035" marT="9023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 typeface="Arial"/>
                        <a:buNone/>
                        <a:tabLst/>
                        <a:defRPr/>
                      </a:pPr>
                      <a:endParaRPr lang="en-GB" sz="10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45720" marR="9035" marT="9023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020834"/>
                  </a:ext>
                </a:extLst>
              </a:tr>
              <a:tr h="86144">
                <a:tc>
                  <a:txBody>
                    <a:bodyPr/>
                    <a:lstStyle/>
                    <a:p>
                      <a:pPr algn="l" fontAlgn="b"/>
                      <a:endParaRPr lang="en-GB" sz="10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"/>
                        <a:ea typeface="+mn-ea"/>
                        <a:cs typeface="Arial"/>
                      </a:endParaRPr>
                    </a:p>
                  </a:txBody>
                  <a:tcPr marL="36000" marR="9035" marT="90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0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9035" marR="9035" marT="9023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0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9035" marR="9035" marT="9023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0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45720" marR="9035" marT="9023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6554247"/>
                  </a:ext>
                </a:extLst>
              </a:tr>
              <a:tr h="86144">
                <a:tc>
                  <a:txBody>
                    <a:bodyPr/>
                    <a:lstStyle/>
                    <a:p>
                      <a:pPr algn="l" fontAlgn="b"/>
                      <a:endParaRPr lang="en-GB" sz="1000" b="1" i="0" u="none" strike="noStrike" kern="1200" dirty="0">
                        <a:solidFill>
                          <a:srgbClr val="002060"/>
                        </a:solidFill>
                        <a:effectLst/>
                        <a:latin typeface="Calibri"/>
                        <a:ea typeface="+mn-ea"/>
                        <a:cs typeface="Arial"/>
                      </a:endParaRPr>
                    </a:p>
                  </a:txBody>
                  <a:tcPr marL="36000" marR="9035" marT="9023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0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9035" marR="9035" marT="9023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0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9035" marR="9035" marT="9023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GB" sz="1000" b="1" i="0" u="none" strike="noStrike" dirty="0">
                        <a:solidFill>
                          <a:srgbClr val="002060"/>
                        </a:solidFill>
                        <a:effectLst/>
                        <a:latin typeface="Calibri"/>
                      </a:endParaRPr>
                    </a:p>
                  </a:txBody>
                  <a:tcPr marL="45720" marR="9035" marT="9023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AAAAA">
                        <a:lumMod val="20000"/>
                        <a:lumOff val="80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05830520"/>
                  </a:ext>
                </a:extLst>
              </a:tr>
            </a:tbl>
          </a:graphicData>
        </a:graphic>
      </p:graphicFrame>
      <p:sp>
        <p:nvSpPr>
          <p:cNvPr id="17" name="Rectangle 9">
            <a:extLst>
              <a:ext uri="{FF2B5EF4-FFF2-40B4-BE49-F238E27FC236}">
                <a16:creationId xmlns:a16="http://schemas.microsoft.com/office/drawing/2014/main" id="{B51C7151-DFC4-6BD9-4FE6-D6AFCED1210B}"/>
              </a:ext>
            </a:extLst>
          </p:cNvPr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4469223" y="2607287"/>
            <a:ext cx="4297680" cy="180000"/>
          </a:xfrm>
          <a:prstGeom prst="rect">
            <a:avLst/>
          </a:prstGeom>
          <a:solidFill>
            <a:srgbClr val="AAAAAA">
              <a:lumMod val="75000"/>
            </a:srgbClr>
          </a:solidFill>
          <a:ln>
            <a:noFill/>
          </a:ln>
          <a:effectLst/>
        </p:spPr>
        <p:txBody>
          <a:bodyPr wrap="none" lIns="73148" tIns="73148" rIns="73148" bIns="73148" anchor="ctr"/>
          <a:lstStyle/>
          <a:p>
            <a:pPr defTabSz="91435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200" b="1" kern="0" dirty="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isks &amp; Sensitivities</a:t>
            </a: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F95791B3-2C9A-0FD4-3BEF-0023944D333A}"/>
              </a:ext>
            </a:extLst>
          </p:cNvPr>
          <p:cNvSpPr/>
          <p:nvPr/>
        </p:nvSpPr>
        <p:spPr>
          <a:xfrm>
            <a:off x="5818698" y="3388553"/>
            <a:ext cx="91440" cy="91440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8454C89A-4F30-5821-FB45-09D6A85A4630}"/>
              </a:ext>
            </a:extLst>
          </p:cNvPr>
          <p:cNvSpPr/>
          <p:nvPr/>
        </p:nvSpPr>
        <p:spPr>
          <a:xfrm>
            <a:off x="6732250" y="3629009"/>
            <a:ext cx="91440" cy="91440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0" name="Oval 19">
            <a:extLst>
              <a:ext uri="{FF2B5EF4-FFF2-40B4-BE49-F238E27FC236}">
                <a16:creationId xmlns:a16="http://schemas.microsoft.com/office/drawing/2014/main" id="{09978E8A-094C-1AAB-9DFA-6F7D39BC7EFF}"/>
              </a:ext>
            </a:extLst>
          </p:cNvPr>
          <p:cNvSpPr/>
          <p:nvPr/>
        </p:nvSpPr>
        <p:spPr>
          <a:xfrm>
            <a:off x="5818698" y="3144440"/>
            <a:ext cx="91440" cy="91440"/>
          </a:xfrm>
          <a:prstGeom prst="ellipse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Oval 20">
            <a:extLst>
              <a:ext uri="{FF2B5EF4-FFF2-40B4-BE49-F238E27FC236}">
                <a16:creationId xmlns:a16="http://schemas.microsoft.com/office/drawing/2014/main" id="{E6D42E1D-DAE9-21D2-7C25-1C62F74F5CCE}"/>
              </a:ext>
            </a:extLst>
          </p:cNvPr>
          <p:cNvSpPr/>
          <p:nvPr/>
        </p:nvSpPr>
        <p:spPr>
          <a:xfrm>
            <a:off x="6732250" y="3144440"/>
            <a:ext cx="91440" cy="91440"/>
          </a:xfrm>
          <a:prstGeom prst="ellipse">
            <a:avLst/>
          </a:prstGeom>
          <a:solidFill>
            <a:srgbClr val="00B050"/>
          </a:solidFill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Oval 21">
            <a:extLst>
              <a:ext uri="{FF2B5EF4-FFF2-40B4-BE49-F238E27FC236}">
                <a16:creationId xmlns:a16="http://schemas.microsoft.com/office/drawing/2014/main" id="{06E2A8EA-6561-F239-A35A-8DF982E3704C}"/>
              </a:ext>
            </a:extLst>
          </p:cNvPr>
          <p:cNvSpPr/>
          <p:nvPr/>
        </p:nvSpPr>
        <p:spPr>
          <a:xfrm>
            <a:off x="6732250" y="3389792"/>
            <a:ext cx="91440" cy="91440"/>
          </a:xfrm>
          <a:prstGeom prst="ellipse">
            <a:avLst/>
          </a:prstGeom>
          <a:solidFill>
            <a:srgbClr val="00B050"/>
          </a:solidFill>
          <a:ln>
            <a:solidFill>
              <a:schemeClr val="accent5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8E808F09-8620-D232-42F0-935C5AC4CE09}"/>
              </a:ext>
            </a:extLst>
          </p:cNvPr>
          <p:cNvSpPr/>
          <p:nvPr/>
        </p:nvSpPr>
        <p:spPr>
          <a:xfrm>
            <a:off x="5818698" y="3625322"/>
            <a:ext cx="91440" cy="91440"/>
          </a:xfrm>
          <a:prstGeom prst="ellipse">
            <a:avLst/>
          </a:prstGeom>
          <a:solidFill>
            <a:srgbClr val="C00000"/>
          </a:solidFill>
          <a:ln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5" name="Rectangle 7">
            <a:extLst>
              <a:ext uri="{FF2B5EF4-FFF2-40B4-BE49-F238E27FC236}">
                <a16:creationId xmlns:a16="http://schemas.microsoft.com/office/drawing/2014/main" id="{5A3C05AC-44E5-0A71-6BA3-BF7B2FBA15D5}"/>
              </a:ext>
            </a:extLst>
          </p:cNvPr>
          <p:cNvSpPr>
            <a:spLocks noChangeArrowheads="1"/>
          </p:cNvSpPr>
          <p:nvPr>
            <p:custDataLst>
              <p:tags r:id="rId10"/>
            </p:custDataLst>
          </p:nvPr>
        </p:nvSpPr>
        <p:spPr bwMode="gray">
          <a:xfrm>
            <a:off x="702182" y="942189"/>
            <a:ext cx="5400000" cy="569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/>
          <a:p>
            <a:pPr defTabSz="912721">
              <a:spcBef>
                <a:spcPts val="600"/>
              </a:spcBef>
            </a:pPr>
            <a:r>
              <a:rPr lang="en-US" sz="1600" b="1" dirty="0">
                <a:solidFill>
                  <a:srgbClr val="00227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duct (s): 		Market(s) : </a:t>
            </a:r>
          </a:p>
          <a:p>
            <a:pPr defTabSz="912721">
              <a:spcBef>
                <a:spcPts val="600"/>
              </a:spcBef>
            </a:pPr>
            <a:r>
              <a:rPr lang="en-US" sz="1600" b="1" dirty="0">
                <a:solidFill>
                  <a:srgbClr val="002277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ject Type:		Owner(s):	</a:t>
            </a:r>
            <a:endParaRPr lang="en-US" sz="1600" dirty="0">
              <a:solidFill>
                <a:srgbClr val="002277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365740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cx5xQRCxkKLLvWxVNVS9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kxqFieHWkKzBk2vt3S4O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wOeUgBaqkeasiyngPKQF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5KLl1Az0K4Y7LnQIc0D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BHj1gGr0GaLMl9gULyz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5KLl1Az0K4Y7LnQIc0D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5KLl1Az0K4Y7LnQIc0D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UzYqogXVUup3LeV7U0N0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CEJ_QMhmUOLJkEYFxIEX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5KLl1Az0K4Y7LnQIc0Dg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2013 - 2022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2013 - 2022 Theme</Template>
  <TotalTime>120</TotalTime>
  <Words>106</Words>
  <Application>Microsoft Macintosh PowerPoint</Application>
  <PresentationFormat>Custom</PresentationFormat>
  <Paragraphs>53</Paragraphs>
  <Slides>1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5" baseType="lpstr">
      <vt:lpstr>Arial</vt:lpstr>
      <vt:lpstr>Calibri</vt:lpstr>
      <vt:lpstr>Calibri Light</vt:lpstr>
      <vt:lpstr>Office Them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itendra Papneja</dc:creator>
  <cp:lastModifiedBy>Jitendra Papneja</cp:lastModifiedBy>
  <cp:revision>38</cp:revision>
  <dcterms:created xsi:type="dcterms:W3CDTF">2023-11-09T03:24:42Z</dcterms:created>
  <dcterms:modified xsi:type="dcterms:W3CDTF">2023-12-15T03:28:39Z</dcterms:modified>
</cp:coreProperties>
</file>